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5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6444B27-54D5-42E0-926C-8D18D1935BB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cupere hasta 60% del aire de soplad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1061" y="1434592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Kit de recuperación de aire para proceso resistente al calor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ptimización de </a:t>
            </a: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os</a:t>
            </a:r>
            <a:r>
              <a:rPr lang="fr-FR" dirty="0">
                <a:solidFill>
                  <a:srgbClr val="000000"/>
                </a:solidFill>
              </a:rPr>
              <a:t>, </a:t>
            </a:r>
            <a:r>
              <a:rPr lang="fr-FR">
                <a:solidFill>
                  <a:srgbClr val="000000"/>
                </a:solidFill>
              </a:rPr>
              <a:t>Sostenibilidad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</a:t>
            </a: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ladoras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ries 2 con proceso HR.</a:t>
            </a:r>
            <a:endParaRPr kumimoji="0" lang="es-E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Con la opción de recuperación de aire, 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 recoge más de la mitad del aire utilizado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y se convierte en aire de presoplado de servicio y se lo utiliza para generar aire para la fábric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ro criterio a considerar es la excelente integración a la máquina: Las configuraciones vinculadas a la opción de recuperación y se registran en las recetas de producto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enor inversión, 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gracias a compresores de aire más pequeño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cupere hasta un 60 % del aire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que se consume en la producción de botellas fijadas por calor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cantidad de aire recuperado está vinculada al tipo de sopladoras y también depende de las condiciones de producción.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locidad de la máquina, número de puestos de soplado, presión de presoplado y soplado, capacidad de la botell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aire recuperado podría ser reutilizado para generar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de presoplado;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para los cilindros de alargamiento y de tobera;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de baja presión en el exterior de la máquina </a:t>
                      </a:r>
                      <a:br>
                        <a:rPr dirty="0"/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la sopladora actúa como un compresor de baja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sió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a instalar esta O&amp;U se requiere como mínimo la versión de PCC (puesto de mando) V2.02. En el caso de las versiones más antiguas, es necesario actualizar el PCC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947" y="4996923"/>
            <a:ext cx="770882" cy="683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860E15FD-0201-4EB2-9005-85CD054D8F9E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2886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203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Recupere hasta 60% del aire de soplad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19-10-10T13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3:13.1691292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